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3" r:id="rId5"/>
  </p:sldMasterIdLst>
  <p:notesMasterIdLst>
    <p:notesMasterId r:id="rId7"/>
  </p:notesMasterIdLst>
  <p:handoutMasterIdLst>
    <p:handoutMasterId r:id="rId8"/>
  </p:handoutMasterIdLst>
  <p:sldIdLst>
    <p:sldId id="414" r:id="rId6"/>
  </p:sldIdLst>
  <p:sldSz cx="9144000" cy="6858000" type="screen4x3"/>
  <p:notesSz cx="9856788" cy="6797675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0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elipe Quintella" initials="" lastIdx="1" clrIdx="0"/>
  <p:cmAuthor id="1" name="Luiz Henrique Pinheiro Brasil Correa" initials="LHPBC" lastIdx="5" clrIdx="1">
    <p:extLst>
      <p:ext uri="{19B8F6BF-5375-455C-9EA6-DF929625EA0E}">
        <p15:presenceInfo xmlns:p15="http://schemas.microsoft.com/office/powerpoint/2012/main" userId="Luiz Henrique Pinheiro Brasil Corre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FEDAEA"/>
    <a:srgbClr val="990000"/>
    <a:srgbClr val="A50021"/>
    <a:srgbClr val="205081"/>
    <a:srgbClr val="1C2F67"/>
    <a:srgbClr val="FFFFFF"/>
    <a:srgbClr val="1495D3"/>
    <a:srgbClr val="4195D3"/>
    <a:srgbClr val="843C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Estilo com Tema 2 - Ênfas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Estilo Escuro 1 - Ênfas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édio 3 - Ênfas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Estilo Claro 1 - Ênfas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Estilo Claro 2 - Ênfase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1594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41"/>
        <p:guide pos="310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vínia Dias" userId="bca03616b5c88a1b" providerId="LiveId" clId="{17CBC5DF-54D1-4BBA-812C-7AEE4C8B4F5D}"/>
    <pc:docChg chg="undo custSel modSld">
      <pc:chgData name="Lavínia Dias" userId="bca03616b5c88a1b" providerId="LiveId" clId="{17CBC5DF-54D1-4BBA-812C-7AEE4C8B4F5D}" dt="2023-04-11T16:50:30.793" v="725" actId="115"/>
      <pc:docMkLst>
        <pc:docMk/>
      </pc:docMkLst>
      <pc:sldChg chg="modSp mod">
        <pc:chgData name="Lavínia Dias" userId="bca03616b5c88a1b" providerId="LiveId" clId="{17CBC5DF-54D1-4BBA-812C-7AEE4C8B4F5D}" dt="2023-04-11T16:50:30.793" v="725" actId="115"/>
        <pc:sldMkLst>
          <pc:docMk/>
          <pc:sldMk cId="2095847117" sldId="414"/>
        </pc:sldMkLst>
        <pc:spChg chg="mod">
          <ac:chgData name="Lavínia Dias" userId="bca03616b5c88a1b" providerId="LiveId" clId="{17CBC5DF-54D1-4BBA-812C-7AEE4C8B4F5D}" dt="2023-04-05T14:33:04.976" v="8" actId="1076"/>
          <ac:spMkLst>
            <pc:docMk/>
            <pc:sldMk cId="2095847117" sldId="414"/>
            <ac:spMk id="4" creationId="{73A6A966-7DC5-460C-B4BA-B4CAC742DF2D}"/>
          </ac:spMkLst>
        </pc:spChg>
        <pc:spChg chg="mod">
          <ac:chgData name="Lavínia Dias" userId="bca03616b5c88a1b" providerId="LiveId" clId="{17CBC5DF-54D1-4BBA-812C-7AEE4C8B4F5D}" dt="2023-04-11T16:48:53.173" v="718" actId="207"/>
          <ac:spMkLst>
            <pc:docMk/>
            <pc:sldMk cId="2095847117" sldId="414"/>
            <ac:spMk id="8" creationId="{00000000-0000-0000-0000-000000000000}"/>
          </ac:spMkLst>
        </pc:spChg>
        <pc:spChg chg="mod">
          <ac:chgData name="Lavínia Dias" userId="bca03616b5c88a1b" providerId="LiveId" clId="{17CBC5DF-54D1-4BBA-812C-7AEE4C8B4F5D}" dt="2023-04-11T16:49:05.232" v="720" actId="207"/>
          <ac:spMkLst>
            <pc:docMk/>
            <pc:sldMk cId="2095847117" sldId="414"/>
            <ac:spMk id="9" creationId="{00000000-0000-0000-0000-000000000000}"/>
          </ac:spMkLst>
        </pc:spChg>
        <pc:spChg chg="mod">
          <ac:chgData name="Lavínia Dias" userId="bca03616b5c88a1b" providerId="LiveId" clId="{17CBC5DF-54D1-4BBA-812C-7AEE4C8B4F5D}" dt="2023-04-05T14:39:21.306" v="320" actId="1076"/>
          <ac:spMkLst>
            <pc:docMk/>
            <pc:sldMk cId="2095847117" sldId="414"/>
            <ac:spMk id="10" creationId="{00000000-0000-0000-0000-000000000000}"/>
          </ac:spMkLst>
        </pc:spChg>
        <pc:spChg chg="mod">
          <ac:chgData name="Lavínia Dias" userId="bca03616b5c88a1b" providerId="LiveId" clId="{17CBC5DF-54D1-4BBA-812C-7AEE4C8B4F5D}" dt="2023-04-11T16:49:08.782" v="721" actId="207"/>
          <ac:spMkLst>
            <pc:docMk/>
            <pc:sldMk cId="2095847117" sldId="414"/>
            <ac:spMk id="11" creationId="{00000000-0000-0000-0000-000000000000}"/>
          </ac:spMkLst>
        </pc:spChg>
        <pc:spChg chg="mod">
          <ac:chgData name="Lavínia Dias" userId="bca03616b5c88a1b" providerId="LiveId" clId="{17CBC5DF-54D1-4BBA-812C-7AEE4C8B4F5D}" dt="2023-04-05T14:39:17.994" v="319" actId="1076"/>
          <ac:spMkLst>
            <pc:docMk/>
            <pc:sldMk cId="2095847117" sldId="414"/>
            <ac:spMk id="17" creationId="{00000000-0000-0000-0000-000000000000}"/>
          </ac:spMkLst>
        </pc:spChg>
        <pc:spChg chg="mod">
          <ac:chgData name="Lavínia Dias" userId="bca03616b5c88a1b" providerId="LiveId" clId="{17CBC5DF-54D1-4BBA-812C-7AEE4C8B4F5D}" dt="2023-04-11T16:50:30.793" v="725" actId="115"/>
          <ac:spMkLst>
            <pc:docMk/>
            <pc:sldMk cId="2095847117" sldId="414"/>
            <ac:spMk id="18" creationId="{00000000-0000-0000-0000-000000000000}"/>
          </ac:spMkLst>
        </pc:spChg>
        <pc:spChg chg="mod">
          <ac:chgData name="Lavínia Dias" userId="bca03616b5c88a1b" providerId="LiveId" clId="{17CBC5DF-54D1-4BBA-812C-7AEE4C8B4F5D}" dt="2023-04-11T16:48:22.056" v="715" actId="20577"/>
          <ac:spMkLst>
            <pc:docMk/>
            <pc:sldMk cId="2095847117" sldId="414"/>
            <ac:spMk id="22" creationId="{00000000-0000-0000-0000-000000000000}"/>
          </ac:spMkLst>
        </pc:spChg>
        <pc:spChg chg="mod">
          <ac:chgData name="Lavínia Dias" userId="bca03616b5c88a1b" providerId="LiveId" clId="{17CBC5DF-54D1-4BBA-812C-7AEE4C8B4F5D}" dt="2023-04-11T16:49:25.499" v="724" actId="207"/>
          <ac:spMkLst>
            <pc:docMk/>
            <pc:sldMk cId="2095847117" sldId="414"/>
            <ac:spMk id="27" creationId="{00000000-0000-0000-0000-000000000000}"/>
          </ac:spMkLst>
        </pc:spChg>
        <pc:spChg chg="mod">
          <ac:chgData name="Lavínia Dias" userId="bca03616b5c88a1b" providerId="LiveId" clId="{17CBC5DF-54D1-4BBA-812C-7AEE4C8B4F5D}" dt="2023-04-08T01:49:42.096" v="657" actId="20577"/>
          <ac:spMkLst>
            <pc:docMk/>
            <pc:sldMk cId="2095847117" sldId="414"/>
            <ac:spMk id="29" creationId="{00000000-0000-0000-0000-000000000000}"/>
          </ac:spMkLst>
        </pc:spChg>
        <pc:spChg chg="mod">
          <ac:chgData name="Lavínia Dias" userId="bca03616b5c88a1b" providerId="LiveId" clId="{17CBC5DF-54D1-4BBA-812C-7AEE4C8B4F5D}" dt="2023-04-11T16:49:14.430" v="722" actId="207"/>
          <ac:spMkLst>
            <pc:docMk/>
            <pc:sldMk cId="2095847117" sldId="414"/>
            <ac:spMk id="31" creationId="{00000000-0000-0000-0000-000000000000}"/>
          </ac:spMkLst>
        </pc:spChg>
        <pc:spChg chg="mod">
          <ac:chgData name="Lavínia Dias" userId="bca03616b5c88a1b" providerId="LiveId" clId="{17CBC5DF-54D1-4BBA-812C-7AEE4C8B4F5D}" dt="2023-04-08T01:36:55.699" v="566" actId="1076"/>
          <ac:spMkLst>
            <pc:docMk/>
            <pc:sldMk cId="2095847117" sldId="414"/>
            <ac:spMk id="33" creationId="{00000000-0000-0000-0000-000000000000}"/>
          </ac:spMkLst>
        </pc:spChg>
        <pc:spChg chg="mod">
          <ac:chgData name="Lavínia Dias" userId="bca03616b5c88a1b" providerId="LiveId" clId="{17CBC5DF-54D1-4BBA-812C-7AEE4C8B4F5D}" dt="2023-04-11T16:48:57.526" v="719" actId="207"/>
          <ac:spMkLst>
            <pc:docMk/>
            <pc:sldMk cId="2095847117" sldId="414"/>
            <ac:spMk id="36" creationId="{E81E230B-DE43-4EE6-BE9C-868372DE8011}"/>
          </ac:spMkLst>
        </pc:spChg>
        <pc:spChg chg="mod">
          <ac:chgData name="Lavínia Dias" userId="bca03616b5c88a1b" providerId="LiveId" clId="{17CBC5DF-54D1-4BBA-812C-7AEE4C8B4F5D}" dt="2023-04-05T14:32:55.355" v="5" actId="1076"/>
          <ac:spMkLst>
            <pc:docMk/>
            <pc:sldMk cId="2095847117" sldId="414"/>
            <ac:spMk id="40" creationId="{95DB27A0-2A7C-423D-8D45-47FC0D428C26}"/>
          </ac:spMkLst>
        </pc:spChg>
        <pc:spChg chg="mod">
          <ac:chgData name="Lavínia Dias" userId="bca03616b5c88a1b" providerId="LiveId" clId="{17CBC5DF-54D1-4BBA-812C-7AEE4C8B4F5D}" dt="2023-04-11T16:48:50.437" v="717" actId="207"/>
          <ac:spMkLst>
            <pc:docMk/>
            <pc:sldMk cId="2095847117" sldId="414"/>
            <ac:spMk id="44" creationId="{F773BA2B-8BF9-4178-AC08-0C4EF0D46BA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5582393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C98552B0-D47D-4278-86CF-97703A2BF473}" type="datetimeFigureOut">
              <a:rPr lang="pt-BR" smtClean="0"/>
              <a:pPr/>
              <a:t>11/04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2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5582393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D6FD9516-C56B-41D9-8CB5-333897752FD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30400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582393" y="1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82264973-C03B-49FA-A69C-7002816C9ADD}" type="datetimeFigureOut">
              <a:rPr lang="pt-BR" smtClean="0"/>
              <a:pPr/>
              <a:t>11/04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228975" y="509588"/>
            <a:ext cx="33988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4" rIns="91429" bIns="45714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986574" y="3229362"/>
            <a:ext cx="7883646" cy="3058722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2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582393" y="6456399"/>
            <a:ext cx="4272167" cy="34011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577DE5FD-BBBC-4CC2-A737-4D923790E522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71691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DD30-DDCE-406C-AA38-A84A0F00F2BD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4521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2F4A97-0758-4224-ADDD-2DB046EE0AB4}" type="datetime1">
              <a:rPr lang="pt-BR" smtClean="0"/>
              <a:pPr/>
              <a:t>11/04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961C7-C200-4B1D-9336-65B5A9B830F7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C8FAA-9EAE-4B88-BD91-8ABAE1E9D9D5}" type="datetime1">
              <a:rPr lang="pt-BR" smtClean="0"/>
              <a:pPr/>
              <a:t>11/04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37ED2-B3B1-4D5F-90B1-29FE02B40D9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8C3898-80F5-48B5-9605-AE9FF8990875}" type="datetimeFigureOut">
              <a:rPr lang="es-MX" smtClean="0"/>
              <a:pPr/>
              <a:t>11/04/2023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B358D-8CF8-45D5-B1E6-A1CDC930D7B6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06671661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298906-720D-4F80-B152-AAAC47210D58}" type="datetime1">
              <a:rPr lang="pt-BR" smtClean="0"/>
              <a:pPr/>
              <a:t>11/04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413AF-5C79-473A-8A6B-8828FED935C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599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298906-720D-4F80-B152-AAAC47210D58}" type="datetime1">
              <a:rPr lang="pt-BR" smtClean="0"/>
              <a:pPr/>
              <a:t>11/04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413AF-5C79-473A-8A6B-8828FED935C1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" name="Rectangle 1"/>
          <p:cNvSpPr/>
          <p:nvPr userDrawn="1"/>
        </p:nvSpPr>
        <p:spPr>
          <a:xfrm>
            <a:off x="16446" y="692696"/>
            <a:ext cx="755576" cy="144016"/>
          </a:xfrm>
          <a:prstGeom prst="rect">
            <a:avLst/>
          </a:prstGeom>
          <a:solidFill>
            <a:srgbClr val="41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ctangle 11"/>
          <p:cNvSpPr/>
          <p:nvPr userDrawn="1"/>
        </p:nvSpPr>
        <p:spPr>
          <a:xfrm>
            <a:off x="848221" y="692696"/>
            <a:ext cx="8273554" cy="144000"/>
          </a:xfrm>
          <a:prstGeom prst="rect">
            <a:avLst/>
          </a:prstGeom>
          <a:solidFill>
            <a:srgbClr val="1C2F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63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298906-720D-4F80-B152-AAAC47210D58}" type="datetime1">
              <a:rPr lang="pt-BR" smtClean="0"/>
              <a:pPr/>
              <a:t>11/04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413AF-5C79-473A-8A6B-8828FED935C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9964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73A6A966-7DC5-460C-B4BA-B4CAC742DF2D}"/>
              </a:ext>
            </a:extLst>
          </p:cNvPr>
          <p:cNvSpPr/>
          <p:nvPr/>
        </p:nvSpPr>
        <p:spPr>
          <a:xfrm>
            <a:off x="0" y="690655"/>
            <a:ext cx="9135983" cy="2924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de cantos arredondados 7"/>
          <p:cNvSpPr/>
          <p:nvPr/>
        </p:nvSpPr>
        <p:spPr bwMode="auto">
          <a:xfrm>
            <a:off x="68239" y="1481365"/>
            <a:ext cx="4548058" cy="60871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r>
              <a:rPr lang="pt-BR" sz="1100" dirty="0">
                <a:solidFill>
                  <a:schemeClr val="tx1"/>
                </a:solidFill>
                <a:latin typeface="+mj-lt"/>
                <a:cs typeface="Arial"/>
              </a:rPr>
              <a:t>Desenvolver um banco de dados operacional e modelar um sistema de apoio de decisão, fornecendo acesso à alta administração através de uma interface.</a:t>
            </a:r>
            <a:endParaRPr lang="pt-BR" sz="11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" name="Retângulo de cantos arredondados 8"/>
          <p:cNvSpPr/>
          <p:nvPr/>
        </p:nvSpPr>
        <p:spPr bwMode="auto">
          <a:xfrm>
            <a:off x="9322" y="2564221"/>
            <a:ext cx="4397840" cy="1338364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pt-BR" sz="1100" dirty="0">
                <a:solidFill>
                  <a:schemeClr val="tx1"/>
                </a:solidFill>
                <a:latin typeface="+mj-lt"/>
                <a:cs typeface="Arial"/>
              </a:rPr>
              <a:t>Criar dois bancos de dados para a empresa, um operacional e um </a:t>
            </a:r>
            <a:r>
              <a:rPr lang="pt-BR" sz="1100" dirty="0" err="1">
                <a:solidFill>
                  <a:schemeClr val="tx1"/>
                </a:solidFill>
                <a:latin typeface="+mj-lt"/>
                <a:cs typeface="Arial"/>
              </a:rPr>
              <a:t>datawarehouse</a:t>
            </a:r>
            <a:r>
              <a:rPr lang="pt-BR" sz="1100" dirty="0">
                <a:solidFill>
                  <a:schemeClr val="tx1"/>
                </a:solidFill>
                <a:latin typeface="+mj-lt"/>
                <a:cs typeface="Arial"/>
              </a:rPr>
              <a:t> para armazenamento do histórico, além de disponibilizar uma interface para que os administradores visualizem as informações do </a:t>
            </a:r>
            <a:r>
              <a:rPr lang="pt-BR" sz="1100" dirty="0" err="1">
                <a:solidFill>
                  <a:schemeClr val="tx1"/>
                </a:solidFill>
                <a:latin typeface="+mj-lt"/>
                <a:cs typeface="Arial"/>
              </a:rPr>
              <a:t>DataWarehouse</a:t>
            </a:r>
            <a:r>
              <a:rPr lang="pt-BR" sz="1100" dirty="0">
                <a:solidFill>
                  <a:schemeClr val="tx1"/>
                </a:solidFill>
                <a:latin typeface="+mj-lt"/>
                <a:cs typeface="Arial"/>
              </a:rPr>
              <a:t>.</a:t>
            </a:r>
            <a:endParaRPr lang="pt-BR" sz="11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" name="Retângulo de cantos arredondados 9"/>
          <p:cNvSpPr/>
          <p:nvPr/>
        </p:nvSpPr>
        <p:spPr bwMode="auto">
          <a:xfrm>
            <a:off x="68239" y="2324022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O que está no escopo do projeto</a:t>
            </a:r>
          </a:p>
        </p:txBody>
      </p:sp>
      <p:sp>
        <p:nvSpPr>
          <p:cNvPr id="11" name="Retângulo de cantos arredondados 10"/>
          <p:cNvSpPr/>
          <p:nvPr/>
        </p:nvSpPr>
        <p:spPr bwMode="auto">
          <a:xfrm>
            <a:off x="4523806" y="2412189"/>
            <a:ext cx="4427042" cy="149439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endParaRPr lang="pt-BR" sz="110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  <a:p>
            <a:pPr marL="0" lvl="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64568"/>
              </a:buClr>
              <a:defRPr/>
            </a:pPr>
            <a:r>
              <a:rPr lang="pt-BR" sz="1100" dirty="0">
                <a:solidFill>
                  <a:schemeClr val="tx1"/>
                </a:solidFill>
                <a:latin typeface="+mj-lt"/>
                <a:cs typeface="Arial" pitchFamily="34" charset="0"/>
              </a:rPr>
              <a:t>Gerenciar aluguéis, criar telas de login e limitar o acesso ao banco de dados com elas, interface para banco de dados operacional</a:t>
            </a:r>
            <a:r>
              <a:rPr lang="pt-BR" sz="1100" dirty="0">
                <a:solidFill>
                  <a:schemeClr val="tx1"/>
                </a:solidFill>
                <a:latin typeface="+mj-lt"/>
                <a:cs typeface="Arial"/>
              </a:rPr>
              <a:t>, </a:t>
            </a:r>
            <a:r>
              <a:rPr lang="pt-BR" sz="1100" dirty="0" err="1">
                <a:solidFill>
                  <a:schemeClr val="tx1"/>
                </a:solidFill>
                <a:latin typeface="+mj-lt"/>
                <a:cs typeface="Arial"/>
              </a:rPr>
              <a:t>hosteamento</a:t>
            </a:r>
            <a:r>
              <a:rPr lang="pt-BR" sz="1100" dirty="0">
                <a:solidFill>
                  <a:schemeClr val="tx1"/>
                </a:solidFill>
                <a:latin typeface="+mj-lt"/>
                <a:cs typeface="Arial"/>
              </a:rPr>
              <a:t> do banco de dados e da aplicação e prestar serviço de suporte técnico.</a:t>
            </a:r>
          </a:p>
        </p:txBody>
      </p:sp>
      <p:sp>
        <p:nvSpPr>
          <p:cNvPr id="13" name="Retângulo de cantos arredondados 12"/>
          <p:cNvSpPr/>
          <p:nvPr/>
        </p:nvSpPr>
        <p:spPr bwMode="auto">
          <a:xfrm>
            <a:off x="5332021" y="2324755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O que </a:t>
            </a:r>
            <a:r>
              <a:rPr lang="pt-BR" sz="1200" b="1" u="sng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não</a:t>
            </a:r>
            <a:r>
              <a:rPr lang="pt-BR" sz="1200" b="1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 está no escopo do projeto</a:t>
            </a:r>
          </a:p>
        </p:txBody>
      </p:sp>
      <p:cxnSp>
        <p:nvCxnSpPr>
          <p:cNvPr id="15" name="Conector reto 14"/>
          <p:cNvCxnSpPr/>
          <p:nvPr/>
        </p:nvCxnSpPr>
        <p:spPr bwMode="auto">
          <a:xfrm>
            <a:off x="-56268" y="2132856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Conector reto 15"/>
          <p:cNvCxnSpPr/>
          <p:nvPr/>
        </p:nvCxnSpPr>
        <p:spPr bwMode="auto">
          <a:xfrm>
            <a:off x="-1985" y="3945491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tângulo de cantos arredondados 16"/>
          <p:cNvSpPr/>
          <p:nvPr/>
        </p:nvSpPr>
        <p:spPr bwMode="auto">
          <a:xfrm>
            <a:off x="75355" y="2119736"/>
            <a:ext cx="1728000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scopo</a:t>
            </a:r>
          </a:p>
        </p:txBody>
      </p:sp>
      <p:sp>
        <p:nvSpPr>
          <p:cNvPr id="18" name="Retângulo de cantos arredondados 17"/>
          <p:cNvSpPr/>
          <p:nvPr/>
        </p:nvSpPr>
        <p:spPr bwMode="auto">
          <a:xfrm>
            <a:off x="130215" y="3975278"/>
            <a:ext cx="2916000" cy="256126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u="sng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Marcos - Premissas/Restrições</a:t>
            </a:r>
          </a:p>
        </p:txBody>
      </p:sp>
      <p:sp>
        <p:nvSpPr>
          <p:cNvPr id="21" name="Retângulo de cantos arredondados 20"/>
          <p:cNvSpPr/>
          <p:nvPr/>
        </p:nvSpPr>
        <p:spPr bwMode="auto">
          <a:xfrm>
            <a:off x="3473064" y="6120747"/>
            <a:ext cx="2196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Data de Início:  28/03/2023</a:t>
            </a:r>
          </a:p>
        </p:txBody>
      </p:sp>
      <p:sp>
        <p:nvSpPr>
          <p:cNvPr id="22" name="Retângulo de cantos arredondados 21"/>
          <p:cNvSpPr/>
          <p:nvPr/>
        </p:nvSpPr>
        <p:spPr bwMode="auto">
          <a:xfrm>
            <a:off x="3473064" y="6475600"/>
            <a:ext cx="2196000" cy="25930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 pitchFamily="34" charset="0"/>
              </a:rPr>
              <a:t>Data de Término: 12/04/2023</a:t>
            </a:r>
          </a:p>
        </p:txBody>
      </p:sp>
      <p:cxnSp>
        <p:nvCxnSpPr>
          <p:cNvPr id="23" name="Conector reto 22"/>
          <p:cNvCxnSpPr/>
          <p:nvPr/>
        </p:nvCxnSpPr>
        <p:spPr bwMode="auto">
          <a:xfrm>
            <a:off x="-22864" y="566124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etângulo de cantos arredondados 23"/>
          <p:cNvSpPr/>
          <p:nvPr/>
        </p:nvSpPr>
        <p:spPr bwMode="auto">
          <a:xfrm>
            <a:off x="68239" y="5989381"/>
            <a:ext cx="3195560" cy="3871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/>
              </a:rPr>
              <a:t>Patrocinadores</a:t>
            </a:r>
            <a:r>
              <a:rPr kumimoji="0" lang="pt-BR" sz="1200" b="1" i="0" u="none" strike="noStrike" cap="none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/>
              </a:rPr>
              <a:t>:</a:t>
            </a:r>
            <a:r>
              <a:rPr lang="pt-BR" sz="1200" b="1" dirty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/>
              </a:rPr>
              <a:t> </a:t>
            </a:r>
            <a:r>
              <a:rPr lang="pt-BR" sz="1200" dirty="0">
                <a:solidFill>
                  <a:schemeClr val="tx1"/>
                </a:solidFill>
                <a:latin typeface="+mj-lt"/>
                <a:cs typeface="Arial"/>
              </a:rPr>
              <a:t> Almir Fonseca, Emanuel </a:t>
            </a:r>
            <a:r>
              <a:rPr lang="pt-BR" sz="1200" dirty="0" err="1">
                <a:solidFill>
                  <a:schemeClr val="tx1"/>
                </a:solidFill>
                <a:latin typeface="+mj-lt"/>
                <a:cs typeface="Arial"/>
              </a:rPr>
              <a:t>Bissiatti</a:t>
            </a:r>
            <a:endParaRPr lang="pt-BR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/>
            </a:endParaRPr>
          </a:p>
        </p:txBody>
      </p:sp>
      <p:sp>
        <p:nvSpPr>
          <p:cNvPr id="26" name="Retângulo de cantos arredondados 25"/>
          <p:cNvSpPr/>
          <p:nvPr/>
        </p:nvSpPr>
        <p:spPr bwMode="auto">
          <a:xfrm>
            <a:off x="153518" y="5695657"/>
            <a:ext cx="2762298" cy="23955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pt-BR" sz="1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nformações Complementares</a:t>
            </a:r>
          </a:p>
        </p:txBody>
      </p:sp>
      <p:sp>
        <p:nvSpPr>
          <p:cNvPr id="27" name="Retângulo de cantos arredondados 26"/>
          <p:cNvSpPr/>
          <p:nvPr/>
        </p:nvSpPr>
        <p:spPr bwMode="auto">
          <a:xfrm>
            <a:off x="5878329" y="6055487"/>
            <a:ext cx="2880000" cy="76134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pt-BR" sz="1100" dirty="0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pt-BR" sz="1100" dirty="0">
                <a:solidFill>
                  <a:schemeClr val="tx1"/>
                </a:solidFill>
                <a:latin typeface="+mj-lt"/>
                <a:cs typeface="Arial" pitchFamily="34" charset="0"/>
              </a:rPr>
              <a:t>Matrix</a:t>
            </a:r>
          </a:p>
        </p:txBody>
      </p:sp>
      <p:sp>
        <p:nvSpPr>
          <p:cNvPr id="28" name="Retângulo de cantos arredondados 27"/>
          <p:cNvSpPr/>
          <p:nvPr/>
        </p:nvSpPr>
        <p:spPr bwMode="auto">
          <a:xfrm>
            <a:off x="6460097" y="5960092"/>
            <a:ext cx="165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 pitchFamily="34" charset="0"/>
              </a:rPr>
              <a:t>Equipe Alocada</a:t>
            </a:r>
            <a:endParaRPr lang="pt-BR" sz="1200" b="1" i="1">
              <a:solidFill>
                <a:schemeClr val="tx1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tângulo de cantos arredondados 41"/>
          <p:cNvSpPr/>
          <p:nvPr/>
        </p:nvSpPr>
        <p:spPr bwMode="auto">
          <a:xfrm>
            <a:off x="68239" y="6443364"/>
            <a:ext cx="3202507" cy="32511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200" b="1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/>
              </a:rPr>
              <a:t>Líder</a:t>
            </a:r>
            <a:r>
              <a:rPr kumimoji="0" lang="pt-BR" sz="1200" b="1" i="0" u="none" strike="noStrike" cap="none" normalizeH="0" baseline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latin typeface="+mj-lt"/>
                <a:cs typeface="Arial"/>
              </a:rPr>
              <a:t> do Projeto:</a:t>
            </a:r>
            <a:r>
              <a:rPr lang="pt-BR" sz="1200" b="1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cs typeface="Arial"/>
              </a:rPr>
              <a:t> </a:t>
            </a:r>
            <a:r>
              <a:rPr lang="pt-BR" sz="1200">
                <a:solidFill>
                  <a:schemeClr val="tx1"/>
                </a:solidFill>
                <a:latin typeface="+mj-lt"/>
                <a:cs typeface="Arial"/>
              </a:rPr>
              <a:t> </a:t>
            </a:r>
            <a:r>
              <a:rPr lang="pt-BR" sz="1200">
                <a:solidFill>
                  <a:schemeClr val="tx1"/>
                </a:solidFill>
                <a:latin typeface="+mj-lt"/>
                <a:cs typeface="Calibri"/>
              </a:rPr>
              <a:t>Lavínia Dias</a:t>
            </a:r>
            <a:endParaRPr kumimoji="0" lang="pt-BR" sz="120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" name="Retângulo de cantos arredondados 28"/>
          <p:cNvSpPr/>
          <p:nvPr/>
        </p:nvSpPr>
        <p:spPr bwMode="auto">
          <a:xfrm>
            <a:off x="-1066" y="4366835"/>
            <a:ext cx="4408228" cy="131807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 indent="-169545" eaLnBrk="0" hangingPunct="0">
              <a:buClr>
                <a:srgbClr val="064568"/>
              </a:buClr>
              <a:buFont typeface="Arial" pitchFamily="34" charset="0"/>
              <a:buChar char="•"/>
              <a:defRPr/>
            </a:pPr>
            <a:endParaRPr lang="pt-BR" sz="1100" dirty="0">
              <a:solidFill>
                <a:schemeClr val="tx1"/>
              </a:solidFill>
              <a:latin typeface="+mj-lt"/>
              <a:cs typeface="Calibri"/>
            </a:endParaRPr>
          </a:p>
          <a:p>
            <a:pPr marL="0" lvl="1" eaLnBrk="0" hangingPunct="0">
              <a:buClr>
                <a:srgbClr val="064568"/>
              </a:buClr>
              <a:defRPr/>
            </a:pPr>
            <a:r>
              <a:rPr lang="pt-BR" sz="1100" dirty="0" err="1">
                <a:solidFill>
                  <a:schemeClr val="tx1"/>
                </a:solidFill>
                <a:latin typeface="+mj-lt"/>
                <a:cs typeface="Calibri"/>
              </a:rPr>
              <a:t>Compreenção</a:t>
            </a:r>
            <a:r>
              <a:rPr lang="pt-BR" sz="1100" dirty="0">
                <a:solidFill>
                  <a:schemeClr val="tx1"/>
                </a:solidFill>
                <a:latin typeface="+mj-lt"/>
                <a:cs typeface="Calibri"/>
              </a:rPr>
              <a:t> das demandas do </a:t>
            </a:r>
            <a:r>
              <a:rPr lang="pt-BR" sz="1100" dirty="0" err="1">
                <a:solidFill>
                  <a:schemeClr val="tx1"/>
                </a:solidFill>
                <a:latin typeface="+mj-lt"/>
                <a:cs typeface="Calibri"/>
              </a:rPr>
              <a:t>stakeholder,criação</a:t>
            </a:r>
            <a:r>
              <a:rPr lang="pt-BR" sz="1100" dirty="0">
                <a:solidFill>
                  <a:schemeClr val="tx1"/>
                </a:solidFill>
                <a:latin typeface="+mj-lt"/>
                <a:cs typeface="Calibri"/>
              </a:rPr>
              <a:t> do MIR,MER, implementação do banco operacional, criação do </a:t>
            </a:r>
            <a:r>
              <a:rPr lang="pt-BR" sz="1100" dirty="0" err="1">
                <a:solidFill>
                  <a:schemeClr val="tx1"/>
                </a:solidFill>
                <a:latin typeface="+mj-lt"/>
                <a:cs typeface="Calibri"/>
              </a:rPr>
              <a:t>datawarehouse</a:t>
            </a:r>
            <a:r>
              <a:rPr lang="pt-BR" sz="1100" dirty="0">
                <a:solidFill>
                  <a:schemeClr val="tx1"/>
                </a:solidFill>
                <a:latin typeface="+mj-lt"/>
                <a:cs typeface="Calibri"/>
              </a:rPr>
              <a:t> e criação do front-</a:t>
            </a:r>
            <a:r>
              <a:rPr lang="pt-BR" sz="1100" dirty="0" err="1">
                <a:solidFill>
                  <a:schemeClr val="tx1"/>
                </a:solidFill>
                <a:latin typeface="+mj-lt"/>
                <a:cs typeface="Calibri"/>
              </a:rPr>
              <a:t>end</a:t>
            </a:r>
            <a:r>
              <a:rPr lang="pt-BR" sz="1100" dirty="0">
                <a:solidFill>
                  <a:schemeClr val="tx1"/>
                </a:solidFill>
                <a:latin typeface="+mj-lt"/>
                <a:cs typeface="Calibri"/>
              </a:rPr>
              <a:t> para administradores.</a:t>
            </a:r>
            <a:endParaRPr lang="pt-BR" sz="1100" dirty="0">
              <a:solidFill>
                <a:schemeClr val="tx1">
                  <a:lumMod val="60000"/>
                  <a:lumOff val="40000"/>
                </a:schemeClr>
              </a:solidFill>
              <a:cs typeface="Arial"/>
            </a:endParaRPr>
          </a:p>
        </p:txBody>
      </p:sp>
      <p:sp>
        <p:nvSpPr>
          <p:cNvPr id="30" name="Retângulo de cantos arredondados 29"/>
          <p:cNvSpPr/>
          <p:nvPr/>
        </p:nvSpPr>
        <p:spPr bwMode="auto">
          <a:xfrm>
            <a:off x="712924" y="4293096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Principal </a:t>
            </a:r>
            <a:r>
              <a:rPr lang="pt-BR" sz="1200" b="1" i="1" err="1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Milestone</a:t>
            </a:r>
            <a:r>
              <a:rPr lang="pt-BR" sz="1200" b="1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 / </a:t>
            </a:r>
            <a:r>
              <a:rPr lang="pt-BR" sz="1200" b="1" i="1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Gates</a:t>
            </a:r>
          </a:p>
        </p:txBody>
      </p:sp>
      <p:sp>
        <p:nvSpPr>
          <p:cNvPr id="31" name="Retângulo de cantos arredondados 30"/>
          <p:cNvSpPr/>
          <p:nvPr/>
        </p:nvSpPr>
        <p:spPr bwMode="auto">
          <a:xfrm>
            <a:off x="4536516" y="4334919"/>
            <a:ext cx="4455265" cy="1318074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00" dirty="0">
              <a:solidFill>
                <a:schemeClr val="bg2">
                  <a:lumMod val="50000"/>
                </a:schemeClr>
              </a:solidFill>
              <a:latin typeface="+mj-lt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100" dirty="0">
                <a:solidFill>
                  <a:schemeClr val="tx1"/>
                </a:solidFill>
                <a:latin typeface="+mj-lt"/>
                <a:cs typeface="Calibri"/>
              </a:rPr>
              <a:t>Existência de um sistema de login e senha  para todos os usuários</a:t>
            </a:r>
            <a:r>
              <a:rPr lang="pt-BR" sz="1100" dirty="0">
                <a:solidFill>
                  <a:schemeClr val="bg2">
                    <a:lumMod val="50000"/>
                  </a:schemeClr>
                </a:solidFill>
                <a:latin typeface="+mj-lt"/>
                <a:cs typeface="Calibri"/>
              </a:rPr>
              <a:t>.</a:t>
            </a:r>
            <a:endParaRPr lang="pt-BR" sz="1100" dirty="0">
              <a:solidFill>
                <a:schemeClr val="bg2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tângulo de cantos arredondados 31"/>
          <p:cNvSpPr/>
          <p:nvPr/>
        </p:nvSpPr>
        <p:spPr bwMode="auto">
          <a:xfrm>
            <a:off x="5362411" y="4231884"/>
            <a:ext cx="2916000" cy="27295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>
                <a:solidFill>
                  <a:schemeClr val="tx1">
                    <a:lumMod val="60000"/>
                    <a:lumOff val="40000"/>
                  </a:schemeClr>
                </a:solidFill>
                <a:cs typeface="Arial" pitchFamily="34" charset="0"/>
              </a:rPr>
              <a:t> Premissas/Restrições</a:t>
            </a:r>
            <a:endParaRPr lang="pt-BR" sz="1200" b="1" i="1">
              <a:solidFill>
                <a:schemeClr val="tx1">
                  <a:lumMod val="60000"/>
                  <a:lumOff val="40000"/>
                </a:schemeClr>
              </a:solidFill>
              <a:cs typeface="Arial" pitchFamily="34" charset="0"/>
            </a:endParaRPr>
          </a:p>
        </p:txBody>
      </p: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20E2EB66-14E8-4523-818D-E9D0C5D93A6D}"/>
              </a:ext>
            </a:extLst>
          </p:cNvPr>
          <p:cNvCxnSpPr/>
          <p:nvPr/>
        </p:nvCxnSpPr>
        <p:spPr bwMode="auto">
          <a:xfrm>
            <a:off x="-22864" y="1058237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4568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Retângulo de cantos arredondados 32"/>
          <p:cNvSpPr/>
          <p:nvPr/>
        </p:nvSpPr>
        <p:spPr bwMode="auto">
          <a:xfrm>
            <a:off x="68239" y="1137784"/>
            <a:ext cx="1728000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bjetivo</a:t>
            </a:r>
          </a:p>
        </p:txBody>
      </p:sp>
      <p:sp>
        <p:nvSpPr>
          <p:cNvPr id="36" name="Retângulo de cantos arredondados 7">
            <a:extLst>
              <a:ext uri="{FF2B5EF4-FFF2-40B4-BE49-F238E27FC236}">
                <a16:creationId xmlns:a16="http://schemas.microsoft.com/office/drawing/2014/main" id="{E81E230B-DE43-4EE6-BE9C-868372DE8011}"/>
              </a:ext>
            </a:extLst>
          </p:cNvPr>
          <p:cNvSpPr/>
          <p:nvPr/>
        </p:nvSpPr>
        <p:spPr bwMode="auto">
          <a:xfrm>
            <a:off x="4762775" y="1470787"/>
            <a:ext cx="1812578" cy="60871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cs typeface="Arial" pitchFamily="34" charset="0"/>
              </a:rPr>
              <a:t>Equipe de Data Science </a:t>
            </a:r>
          </a:p>
        </p:txBody>
      </p:sp>
      <p:sp>
        <p:nvSpPr>
          <p:cNvPr id="37" name="Retângulo de cantos arredondados 32">
            <a:extLst>
              <a:ext uri="{FF2B5EF4-FFF2-40B4-BE49-F238E27FC236}">
                <a16:creationId xmlns:a16="http://schemas.microsoft.com/office/drawing/2014/main" id="{F98D8C07-BD89-4270-875C-1CD2D6FC2EB1}"/>
              </a:ext>
            </a:extLst>
          </p:cNvPr>
          <p:cNvSpPr/>
          <p:nvPr/>
        </p:nvSpPr>
        <p:spPr bwMode="auto">
          <a:xfrm>
            <a:off x="4831378" y="1170662"/>
            <a:ext cx="1557097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05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nidade – Frente TIC</a:t>
            </a:r>
          </a:p>
        </p:txBody>
      </p:sp>
      <p:sp>
        <p:nvSpPr>
          <p:cNvPr id="40" name="Retângulo de cantos arredondados 32">
            <a:extLst>
              <a:ext uri="{FF2B5EF4-FFF2-40B4-BE49-F238E27FC236}">
                <a16:creationId xmlns:a16="http://schemas.microsoft.com/office/drawing/2014/main" id="{95DB27A0-2A7C-423D-8D45-47FC0D428C26}"/>
              </a:ext>
            </a:extLst>
          </p:cNvPr>
          <p:cNvSpPr/>
          <p:nvPr/>
        </p:nvSpPr>
        <p:spPr bwMode="auto">
          <a:xfrm>
            <a:off x="75355" y="59840"/>
            <a:ext cx="1728000" cy="216000"/>
          </a:xfrm>
          <a:prstGeom prst="roundRect">
            <a:avLst/>
          </a:prstGeom>
          <a:solidFill>
            <a:srgbClr val="002060"/>
          </a:solidFill>
          <a:ln>
            <a:solidFill>
              <a:srgbClr val="064568"/>
            </a:solidFill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Nome  do Projeto</a:t>
            </a:r>
          </a:p>
        </p:txBody>
      </p:sp>
      <p:sp>
        <p:nvSpPr>
          <p:cNvPr id="44" name="Retângulo de cantos arredondados 7">
            <a:extLst>
              <a:ext uri="{FF2B5EF4-FFF2-40B4-BE49-F238E27FC236}">
                <a16:creationId xmlns:a16="http://schemas.microsoft.com/office/drawing/2014/main" id="{F773BA2B-8BF9-4178-AC08-0C4EF0D46BA8}"/>
              </a:ext>
            </a:extLst>
          </p:cNvPr>
          <p:cNvSpPr/>
          <p:nvPr/>
        </p:nvSpPr>
        <p:spPr bwMode="auto">
          <a:xfrm>
            <a:off x="75355" y="294678"/>
            <a:ext cx="2704458" cy="52428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1100" dirty="0">
                <a:solidFill>
                  <a:schemeClr val="tx1"/>
                </a:solidFill>
                <a:latin typeface="+mj-lt"/>
                <a:cs typeface="Arial" pitchFamily="34" charset="0"/>
              </a:rPr>
              <a:t>Implementação de bancos de dados para a  Imobiliária CHA</a:t>
            </a:r>
            <a:endParaRPr kumimoji="0" lang="pt-B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584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9C8404EF82A8B4187D039D4159CC3A1" ma:contentTypeVersion="2" ma:contentTypeDescription="Crie um novo documento." ma:contentTypeScope="" ma:versionID="cb5af2995fa653e0478f46d6c4708fd4">
  <xsd:schema xmlns:xsd="http://www.w3.org/2001/XMLSchema" xmlns:xs="http://www.w3.org/2001/XMLSchema" xmlns:p="http://schemas.microsoft.com/office/2006/metadata/properties" xmlns:ns3="9c1b3d8e-718c-490c-80a5-8a3a41a64dfb" targetNamespace="http://schemas.microsoft.com/office/2006/metadata/properties" ma:root="true" ma:fieldsID="22c6571d347fc507bc97615ecb45c423" ns3:_="">
    <xsd:import namespace="9c1b3d8e-718c-490c-80a5-8a3a41a64df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1b3d8e-718c-490c-80a5-8a3a41a64d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242D38D0-E869-41A5-853D-4F90D407FC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4A0C596-A6B4-482A-8933-F5D4EA8369A1}">
  <ds:schemaRefs>
    <ds:schemaRef ds:uri="9c1b3d8e-718c-490c-80a5-8a3a41a64df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68DE2BE-D141-45E8-AF8E-79603F1C4452}">
  <ds:schemaRefs>
    <ds:schemaRef ds:uri="9c1b3d8e-718c-490c-80a5-8a3a41a64df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3</TotalTime>
  <Words>223</Words>
  <Application>Microsoft Office PowerPoint</Application>
  <PresentationFormat>Apresentação na tela (4:3)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6" baseType="lpstr">
      <vt:lpstr>Arial</vt:lpstr>
      <vt:lpstr>Calibri</vt:lpstr>
      <vt:lpstr>Tema do Office</vt:lpstr>
      <vt:lpstr>1_Tema do Office</vt:lpstr>
      <vt:lpstr>think-cell Slide</vt:lpstr>
      <vt:lpstr>Apresentação do PowerPoint</vt:lpstr>
    </vt:vector>
  </TitlesOfParts>
  <Company>FGV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retoria de Operações - Projetos de Investimentos</dc:title>
  <dc:subject>Análise Ferramentas - Projeto Consolida</dc:subject>
  <dc:creator>Ricardo Guth</dc:creator>
  <cp:lastModifiedBy>Lavínia Dias</cp:lastModifiedBy>
  <cp:revision>3</cp:revision>
  <cp:lastPrinted>2016-07-18T20:41:00Z</cp:lastPrinted>
  <dcterms:created xsi:type="dcterms:W3CDTF">2010-07-19T18:54:19Z</dcterms:created>
  <dcterms:modified xsi:type="dcterms:W3CDTF">2023-04-11T16:5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C8404EF82A8B4187D039D4159CC3A1</vt:lpwstr>
  </property>
  <property fmtid="{D5CDD505-2E9C-101B-9397-08002B2CF9AE}" pid="3" name="_dlc_DocIdItemGuid">
    <vt:lpwstr>23120032-f056-4a62-9b74-69e9b0f68596</vt:lpwstr>
  </property>
</Properties>
</file>